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345" r:id="rId2"/>
    <p:sldId id="435" r:id="rId3"/>
    <p:sldId id="436" r:id="rId4"/>
    <p:sldId id="437" r:id="rId5"/>
    <p:sldId id="258" r:id="rId6"/>
    <p:sldId id="425" r:id="rId7"/>
    <p:sldId id="426" r:id="rId8"/>
    <p:sldId id="428" r:id="rId9"/>
    <p:sldId id="429" r:id="rId10"/>
    <p:sldId id="430" r:id="rId11"/>
    <p:sldId id="431" r:id="rId12"/>
    <p:sldId id="432" r:id="rId13"/>
    <p:sldId id="433" r:id="rId14"/>
    <p:sldId id="434" r:id="rId15"/>
  </p:sldIdLst>
  <p:sldSz cx="12192000" cy="6858000"/>
  <p:notesSz cx="6858000" cy="9144000"/>
  <p:embeddedFontLst>
    <p:embeddedFont>
      <p:font typeface="Frutiger LT Com 45 Light" panose="020B0303030504090204" charset="0"/>
      <p:regular r:id="rId18"/>
      <p:bold r:id="rId19"/>
      <p:italic r:id="rId20"/>
      <p:boldItalic r:id="rId21"/>
    </p:embeddedFont>
    <p:embeddedFont>
      <p:font typeface="Frutiger LT Com 65 Bold" panose="020B0803030504020204" charset="0"/>
      <p:bold r:id="rId22"/>
    </p:embeddedFont>
    <p:embeddedFont>
      <p:font typeface="Frutiger LT Com 75 Black" panose="020B0A03040504030204" charset="0"/>
      <p:bold r:id="rId23"/>
    </p:embeddedFont>
  </p:embeddedFontLst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00779A"/>
    <a:srgbClr val="1C768F"/>
    <a:srgbClr val="09B2AC"/>
    <a:srgbClr val="014A6B"/>
    <a:srgbClr val="4DC7D2"/>
    <a:srgbClr val="04B1AA"/>
    <a:srgbClr val="32BBC7"/>
    <a:srgbClr val="05B1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5" autoAdjust="0"/>
    <p:restoredTop sz="96008" autoAdjust="0"/>
  </p:normalViewPr>
  <p:slideViewPr>
    <p:cSldViewPr snapToGrid="0" showGuides="1">
      <p:cViewPr varScale="1">
        <p:scale>
          <a:sx n="106" d="100"/>
          <a:sy n="106" d="100"/>
        </p:scale>
        <p:origin x="618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38501"/>
    </p:cViewPr>
  </p:sorterViewPr>
  <p:notesViewPr>
    <p:cSldViewPr snapToGrid="0">
      <p:cViewPr varScale="1">
        <p:scale>
          <a:sx n="80" d="100"/>
          <a:sy n="80" d="100"/>
        </p:scale>
        <p:origin x="287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font" Target="fonts/font4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6.fntdata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12/19/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12/19/20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30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2073017-DDA3-40B1-B959-F4FB6A4AFA26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E2CAD830-41D2-49E6-9A6C-8B30840C61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1C2822D-ACBC-46C4-BC5F-37D1A4BC04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2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622533"/>
          </a:xfrm>
          <a:gradFill flip="none" rotWithShape="1">
            <a:gsLst>
              <a:gs pos="34000">
                <a:srgbClr val="1C768F">
                  <a:alpha val="94902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überschrift, Frutiger </a:t>
            </a:r>
            <a:r>
              <a:rPr lang="de-DE" dirty="0" err="1"/>
              <a:t>Bold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dirty="0" err="1"/>
              <a:t>Com</a:t>
            </a:r>
            <a:r>
              <a:rPr lang="de-DE" dirty="0"/>
              <a:t> Light 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B612DD1F-137A-4464-9EAC-BB9C0CE663F3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1F8DCC3F-E343-4E3F-B16A-B6051F15F1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5" b="18610"/>
          <a:stretch/>
        </p:blipFill>
        <p:spPr>
          <a:xfrm>
            <a:off x="0" y="1"/>
            <a:ext cx="12192000" cy="6151957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657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F75AC2F-D644-43D9-B982-47D14AE5066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DD65271-F4C6-48CF-AF5F-2037B0CD876F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09CF1CB-7C21-4B1B-8641-DD8AC9A83C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0AB71B0-9D5B-4CFF-97F3-7D9E421F2D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10222"/>
          <a:stretch/>
        </p:blipFill>
        <p:spPr>
          <a:xfrm>
            <a:off x="0" y="0"/>
            <a:ext cx="12192000" cy="6156960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824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4020A64-C0C9-478D-9112-3AF7A9C7B733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4113842-5E3F-4997-8349-B76EB457E5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428535-A26E-4A75-A2D0-95960DB6BCF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16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921AC-02AD-43CE-8223-29C354AFA9F0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00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B90B4-23A1-4D5C-AEA0-4F896DEE8659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8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3D9B4-34CC-4E21-9E4A-F393B50906FC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244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3F9B2CC-25F6-4FAC-8864-016AA298134A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80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EE57FA5-9E55-4B97-9BC1-88EE745C6E8D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F46C379-14E1-4C3E-81B3-2514BD91D6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983DEDE-C1BC-4CFF-B990-BF9CE174A5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60525D-F95B-4ACC-B650-EB231C9416E4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50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eispielbild als Platzhalter - durch Klick auf Symbol gegen gewünschtes Bild austauschen!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4000">
                <a:srgbClr val="1D7790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29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576A1-7152-48DA-B11F-0CA42E8F88C3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888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6000"/>
            <a:ext cx="11233150" cy="382733"/>
          </a:xfrm>
        </p:spPr>
        <p:txBody>
          <a:bodyPr vert="horz"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2640595"/>
          </a:xfrm>
        </p:spPr>
        <p:txBody>
          <a:bodyPr numCol="1" spcCol="360000"/>
          <a:lstStyle>
            <a:lvl5pPr>
              <a:defRPr/>
            </a:lvl5pPr>
            <a:lvl8pPr>
              <a:buAutoNum type="arabicPeriod"/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A80A6E1-2019-439E-8E86-0046D913F8D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B4BCDEA-1572-4D1C-B8B3-1CB32F073304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3CF5D9C-18A9-4FD1-BF61-90B1DF40DA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C7C1689-11E8-41AB-9458-DE44740E23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9AB49C-1F4E-4EF1-AAF8-5D9B08CE0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979DCD-35B3-46F6-8E1A-F75179508D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437187" cy="2640595"/>
          </a:xfrm>
        </p:spPr>
        <p:txBody>
          <a:bodyPr numCol="1"/>
          <a:lstStyle/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503339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6000"/>
            <a:ext cx="11233150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3085204"/>
          </a:xfrm>
        </p:spPr>
        <p:txBody>
          <a:bodyPr numCol="1" spcCol="360000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buAutoNum type="arabicPeriod"/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87E145-D96F-4C16-98B0-5C7CE18C7A39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B913C0-DAEC-4E03-BE28-C93BE7F20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DDDE3BD-D7C5-4F7F-8E5F-2F194BD44F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516562" cy="3020314"/>
          </a:xfrm>
        </p:spPr>
        <p:txBody>
          <a:bodyPr numCol="1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39527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2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77E153F-41A4-4D9F-9E2C-43776E00E2AA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4293628-7C4E-4B40-9C44-4455388844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2CBCEFF-ED55-43F4-840E-11635FF54F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7541F53-829B-4497-96C5-4E44BC0C6C56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8C3B39-287A-4DC2-86D1-47762D2F8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36F7860-0DEC-4D26-A4CA-9345FD189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A5AD49B5-73A6-4C2A-8588-DD0F894360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5" b="18624"/>
          <a:stretch/>
        </p:blipFill>
        <p:spPr>
          <a:xfrm>
            <a:off x="0" y="2"/>
            <a:ext cx="12192000" cy="6150768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802DEE-4F74-426D-A4E8-87B69A103B05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beispiel – mit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12865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ild kann durch Klicken auf Symbol in Bildmitte ausgetauscht werd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3064328"/>
            <a:ext cx="5916612" cy="2727579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bg1"/>
                </a:solidFill>
                <a:latin typeface="+mn-lt"/>
              </a:defRPr>
            </a:lvl1pPr>
            <a:lvl2pPr marL="0" marR="0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 panose="020B0303030504020204" pitchFamily="34" charset="0"/>
                <a:ea typeface="+mn-ea"/>
                <a:cs typeface="+mn-cs"/>
              </a:rPr>
              <a:t>Überschrift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LT Com 45 Light" panose="020B0303030504020204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86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75 Black" panose="020B0A03040504030204" pitchFamily="34" charset="0"/>
                <a:ea typeface="+mn-ea"/>
                <a:cs typeface="+mn-cs"/>
              </a:rPr>
              <a:t>—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Etwa 3 bis 5 Zeilen Fließtext erläutern das Bild. Dies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 Etwa 3 bis 5 Zeilen Fließtext erläutern das Bild. Dies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E5806F9-6B91-4EEE-BC2C-4C702B2BEEDB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jektbeispiel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ild kann durch Klicken auf Symbol in Bildmitte ausgetauscht werd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160147"/>
            <a:ext cx="5916612" cy="2727579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bg1"/>
                </a:solidFill>
                <a:latin typeface="+mn-lt"/>
              </a:defRPr>
            </a:lvl1pPr>
            <a:lvl2pPr marL="0" marR="0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 panose="020B0303030504020204" pitchFamily="34" charset="0"/>
                <a:ea typeface="+mn-ea"/>
                <a:cs typeface="+mn-cs"/>
              </a:rPr>
              <a:t>Überschrift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LT Com 45 Light" panose="020B0303030504020204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86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75 Black" panose="020B0A03040504030204" pitchFamily="34" charset="0"/>
                <a:ea typeface="+mn-ea"/>
                <a:cs typeface="+mn-cs"/>
              </a:rPr>
              <a:t>—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Etwa 3 bis 5 Zeilen Fließtext erläutern das Bild. Dies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 Etwa 3 bis 5 Zeilen Fließtext erläutern das Bild. Dies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</a:t>
            </a:r>
          </a:p>
        </p:txBody>
      </p:sp>
    </p:spTree>
    <p:extLst>
      <p:ext uri="{BB962C8B-B14F-4D97-AF65-F5344CB8AC3E}">
        <p14:creationId xmlns:p14="http://schemas.microsoft.com/office/powerpoint/2010/main" val="29876686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5764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ild kann bei Bedarf durch Klicken auf Symbol ausgetauscht werd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</p:spTree>
    <p:extLst>
      <p:ext uri="{BB962C8B-B14F-4D97-AF65-F5344CB8AC3E}">
        <p14:creationId xmlns:p14="http://schemas.microsoft.com/office/powerpoint/2010/main" val="38488376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ild kann bei Bedarf durch Klicken auf Symbol ausgetauscht werd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974270"/>
            <a:ext cx="5916612" cy="3010605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36819981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197DE11-A966-449E-A5FD-31979AF34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167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 dirty="0"/>
              <a:t>Straße XY</a:t>
            </a:r>
          </a:p>
          <a:p>
            <a:pPr lvl="3"/>
            <a:r>
              <a:rPr lang="pt-BR" dirty="0"/>
              <a:t>12345 Stadt</a:t>
            </a:r>
          </a:p>
          <a:p>
            <a:pPr lvl="3"/>
            <a:r>
              <a:rPr lang="pt-BR" dirty="0"/>
              <a:t>www.fraunhofer.de</a:t>
            </a:r>
          </a:p>
        </p:txBody>
      </p:sp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50000"/>
                    </a:schemeClr>
                  </a:outerShdw>
                </a:effectLst>
              </a:defRPr>
            </a:lvl1pPr>
          </a:lstStyle>
          <a:p>
            <a:pPr lvl="0"/>
            <a:r>
              <a:rPr lang="de-DE" dirty="0"/>
              <a:t>Beispielbild als Platzhalter - durch Klick auf Symbol gegen gewünschtes Bild austauschen!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3148592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979950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7C751A8B-7DD1-4C74-A6D8-AE2E6694A0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CA94CF4-7D7D-4A16-808E-9BB3F11A797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575F282-9D1B-4645-B88C-04861B076577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86A8951A-7642-4D31-B686-A714C8CCF5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DE5828C-86B5-43E8-99E0-320BB3D4C7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4" imgW="344" imgH="345" progId="TCLayout.ActiveDocument.1">
                  <p:embed/>
                </p:oleObj>
              </mc:Choice>
              <mc:Fallback>
                <p:oleObj name="think-cell Folie" r:id="rId3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840BE37-0688-453E-8621-EBEA1DAF6D6C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/>
              <a:t>© Fraunhofer IOSB</a:t>
            </a:r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>
                <a:latin typeface="+mj-lt"/>
              </a:rPr>
              <a:t>Intern</a:t>
            </a:r>
            <a:endParaRPr lang="en-US" sz="800" b="1" dirty="0">
              <a:latin typeface="+mj-lt"/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2" name="iosb_rgb">
            <a:extLst>
              <a:ext uri="{FF2B5EF4-FFF2-40B4-BE49-F238E27FC236}">
                <a16:creationId xmlns:a16="http://schemas.microsoft.com/office/drawing/2014/main" id="{7CAC2254-44F4-41CC-A5C7-44675CB65AD8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9226" y="6334126"/>
            <a:ext cx="1403999" cy="37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  <p:sldLayoutId id="2147483661" r:id="rId12"/>
    <p:sldLayoutId id="2147483663" r:id="rId13"/>
    <p:sldLayoutId id="2147483668" r:id="rId14"/>
    <p:sldLayoutId id="2147483665" r:id="rId15"/>
    <p:sldLayoutId id="2147483671" r:id="rId16"/>
    <p:sldLayoutId id="2147483664" r:id="rId17"/>
    <p:sldLayoutId id="2147483667" r:id="rId18"/>
    <p:sldLayoutId id="2147483659" r:id="rId19"/>
    <p:sldLayoutId id="2147483678" r:id="rId20"/>
    <p:sldLayoutId id="2147483666" r:id="rId21"/>
    <p:sldLayoutId id="2147483669" r:id="rId22"/>
    <p:sldLayoutId id="2147483670" r:id="rId23"/>
    <p:sldLayoutId id="2147483672" r:id="rId24"/>
    <p:sldLayoutId id="2147483673" r:id="rId25"/>
    <p:sldLayoutId id="2147483674" r:id="rId26"/>
    <p:sldLayoutId id="2147483681" r:id="rId27"/>
    <p:sldLayoutId id="2147483680" r:id="rId28"/>
    <p:sldLayoutId id="2147483675" r:id="rId29"/>
    <p:sldLayoutId id="2147483676" r:id="rId30"/>
    <p:sldLayoutId id="2147483677" r:id="rId31"/>
  </p:sldLayoutIdLst>
  <p:hf hdr="0" ft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9F79856-5C31-46CF-811F-5923CFCCD6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3736402"/>
            <a:ext cx="11712575" cy="2248473"/>
          </a:xfrm>
        </p:spPr>
        <p:txBody>
          <a:bodyPr/>
          <a:lstStyle/>
          <a:p>
            <a:r>
              <a:rPr lang="de-DE" dirty="0"/>
              <a:t>Fabian Heinlein</a:t>
            </a:r>
          </a:p>
          <a:p>
            <a:r>
              <a:rPr lang="de-DE" dirty="0"/>
              <a:t>16.12.2024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Ergebnisse: Planung der Bachelorarbeit</a:t>
            </a:r>
          </a:p>
        </p:txBody>
      </p:sp>
      <p:pic>
        <p:nvPicPr>
          <p:cNvPr id="5" name="iosb_rgb_modul">
            <a:extLst>
              <a:ext uri="{FF2B5EF4-FFF2-40B4-BE49-F238E27FC236}">
                <a16:creationId xmlns:a16="http://schemas.microsoft.com/office/drawing/2014/main" id="{DD7AD2D0-5D4A-4523-9F67-867979704F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916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8623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obgliederung (3)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73748" y="6457796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5656" y="6470849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Umsetzung in EMS-EDM Prophet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8553D89-6D6A-888A-A8BB-604D107C8EBF}"/>
              </a:ext>
            </a:extLst>
          </p:cNvPr>
          <p:cNvSpPr txBox="1"/>
          <p:nvPr/>
        </p:nvSpPr>
        <p:spPr>
          <a:xfrm>
            <a:off x="7323992" y="2831547"/>
            <a:ext cx="4668716" cy="12640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b="1" dirty="0"/>
              <a:t>Praktischer</a:t>
            </a:r>
            <a:r>
              <a:rPr lang="de-DE" sz="1400" dirty="0"/>
              <a:t> Teil der Arbeit</a:t>
            </a:r>
          </a:p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Anwenden der Ergebnisse aus Kapitel 2</a:t>
            </a:r>
            <a:br>
              <a:rPr lang="de-DE" sz="1400" dirty="0"/>
            </a:br>
            <a:r>
              <a:rPr lang="de-DE" sz="1400" dirty="0">
                <a:sym typeface="Wingdings" panose="05000000000000000000" pitchFamily="2" charset="2"/>
              </a:rPr>
              <a:t> Anforderungen definieren</a:t>
            </a:r>
            <a:endParaRPr lang="de-DE" sz="1400" dirty="0"/>
          </a:p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Konzeptbeschreibung</a:t>
            </a:r>
          </a:p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Umsetzungsdokumentatio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72E4E9C-5E25-3640-28A8-9CA6D7E056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424" y="1438095"/>
            <a:ext cx="6122493" cy="2848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4044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obgliederung (4)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73748" y="6457796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5656" y="6470849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valuatio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8553D89-6D6A-888A-A8BB-604D107C8EBF}"/>
              </a:ext>
            </a:extLst>
          </p:cNvPr>
          <p:cNvSpPr txBox="1"/>
          <p:nvPr/>
        </p:nvSpPr>
        <p:spPr>
          <a:xfrm>
            <a:off x="7323992" y="1847560"/>
            <a:ext cx="4668716" cy="35713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Auswertung der Arbeitsergebnisse aus Kapitel 3</a:t>
            </a:r>
          </a:p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b="1" dirty="0"/>
              <a:t>Evaluationsziele:</a:t>
            </a:r>
          </a:p>
          <a:p>
            <a:pPr marL="637200" lvl="1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Abbildbarkeit von Bilanzraumstrukturen</a:t>
            </a:r>
            <a:br>
              <a:rPr lang="de-DE" sz="1400" dirty="0"/>
            </a:br>
            <a:r>
              <a:rPr lang="de-DE" sz="1400" dirty="0"/>
              <a:t>(Welche Bilanzraumstrukturen sind abbildbar?)</a:t>
            </a:r>
            <a:br>
              <a:rPr lang="de-DE" sz="1400" dirty="0"/>
            </a:br>
            <a:r>
              <a:rPr lang="de-DE" sz="1400" dirty="0">
                <a:sym typeface="Wingdings" panose="05000000000000000000" pitchFamily="2" charset="2"/>
              </a:rPr>
              <a:t> Experteninterview (Qualitative Daten)</a:t>
            </a:r>
          </a:p>
          <a:p>
            <a:pPr marL="637200" lvl="1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ym typeface="Wingdings" panose="05000000000000000000" pitchFamily="2" charset="2"/>
            </a:endParaRPr>
          </a:p>
          <a:p>
            <a:pPr marL="637200" lvl="1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sym typeface="Wingdings" panose="05000000000000000000" pitchFamily="2" charset="2"/>
              </a:rPr>
              <a:t>Korrektheit der Berechnungen von Metriken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 Messung der Genauigkeit/Wiederholbarkeit der Metriken mit entworfenem System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+ vergleich zu Sollwerten</a:t>
            </a:r>
          </a:p>
          <a:p>
            <a:pPr marL="637200" lvl="1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ym typeface="Wingdings" panose="05000000000000000000" pitchFamily="2" charset="2"/>
            </a:endParaRPr>
          </a:p>
          <a:p>
            <a:pPr marL="637200" lvl="1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sym typeface="Wingdings" panose="05000000000000000000" pitchFamily="2" charset="2"/>
              </a:rPr>
              <a:t>Abbildbarkeit von Metriken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(Welche Metriken sind abbildbar?)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 Experteninterview</a:t>
            </a:r>
            <a:endParaRPr lang="de-DE" sz="14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48E83B5-BA37-38A6-E7B9-A28F0DA883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425" y="1395735"/>
            <a:ext cx="6400800" cy="445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6352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obgliederung (5)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73748" y="6457796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5656" y="6470849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azit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8553D89-6D6A-888A-A8BB-604D107C8EBF}"/>
              </a:ext>
            </a:extLst>
          </p:cNvPr>
          <p:cNvSpPr txBox="1"/>
          <p:nvPr/>
        </p:nvSpPr>
        <p:spPr>
          <a:xfrm>
            <a:off x="6559061" y="3552516"/>
            <a:ext cx="4668716" cy="7511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Abschluss der Arbeit</a:t>
            </a:r>
          </a:p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Rückblick auf Forschungsfragen</a:t>
            </a:r>
          </a:p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Ausblick auf weitere Forschung in diesem Problemraum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ED4FE61-FB2E-DC68-2854-6D79BBB667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9087" y="2264968"/>
            <a:ext cx="6429375" cy="8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2619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osb_rgb_modul">
            <a:extLst>
              <a:ext uri="{FF2B5EF4-FFF2-40B4-BE49-F238E27FC236}">
                <a16:creationId xmlns:a16="http://schemas.microsoft.com/office/drawing/2014/main" id="{DD7AD2D0-5D4A-4523-9F67-867979704F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743" y="0"/>
            <a:ext cx="9394514" cy="3429000"/>
          </a:xfrm>
          <a:prstGeom prst="rect">
            <a:avLst/>
          </a:prstGeom>
          <a:noFill/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78900C-3DF8-446D-8BFD-EBD50DCA41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-1" y="2357312"/>
            <a:ext cx="7824787" cy="3148592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200" dirty="0"/>
              <a:t>Zeitplanung</a:t>
            </a:r>
          </a:p>
          <a:p>
            <a:pPr lvl="1">
              <a:lnSpc>
                <a:spcPct val="90000"/>
              </a:lnSpc>
            </a:pPr>
            <a:r>
              <a:rPr lang="de-DE" sz="2200" dirty="0"/>
              <a:t>—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Fabian Heinlein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16.12.2024</a:t>
            </a:r>
            <a:br>
              <a:rPr lang="de-DE" sz="2200" dirty="0"/>
            </a:br>
            <a:r>
              <a:rPr lang="de-DE" sz="2200" dirty="0"/>
              <a:t>Bachelorarbeit</a:t>
            </a:r>
          </a:p>
        </p:txBody>
      </p:sp>
    </p:spTree>
    <p:extLst>
      <p:ext uri="{BB962C8B-B14F-4D97-AF65-F5344CB8AC3E}">
        <p14:creationId xmlns:p14="http://schemas.microsoft.com/office/powerpoint/2010/main" val="42507179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eitplanung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73748" y="6457796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5656" y="6470849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ilensteinplan</a:t>
            </a:r>
          </a:p>
        </p:txBody>
      </p:sp>
      <p:pic>
        <p:nvPicPr>
          <p:cNvPr id="4" name="Grafik 3" descr="Ein Bild, das Text, Screenshot, Schrift, Design enthält.&#10;&#10;Automatisch generierte Beschreibung">
            <a:extLst>
              <a:ext uri="{FF2B5EF4-FFF2-40B4-BE49-F238E27FC236}">
                <a16:creationId xmlns:a16="http://schemas.microsoft.com/office/drawing/2014/main" id="{089350EC-480D-66B7-86A6-E9AFEFFA07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1725" y="5063"/>
            <a:ext cx="816175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2350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BC65D2-E7A3-AB7C-95D8-E0F0B0AE8C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osb_rgb_modul">
            <a:extLst>
              <a:ext uri="{FF2B5EF4-FFF2-40B4-BE49-F238E27FC236}">
                <a16:creationId xmlns:a16="http://schemas.microsoft.com/office/drawing/2014/main" id="{953DA13A-9BCE-6D22-D6AE-506FB5C801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743" y="0"/>
            <a:ext cx="9394514" cy="3429000"/>
          </a:xfrm>
          <a:prstGeom prst="rect">
            <a:avLst/>
          </a:prstGeom>
          <a:noFill/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D9FC15C-4A1E-413C-455F-FA9963D629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2366104"/>
            <a:ext cx="7824787" cy="3148592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200" dirty="0"/>
              <a:t>Thema</a:t>
            </a:r>
          </a:p>
          <a:p>
            <a:pPr lvl="1">
              <a:lnSpc>
                <a:spcPct val="90000"/>
              </a:lnSpc>
            </a:pPr>
            <a:r>
              <a:rPr lang="de-DE" sz="2200" dirty="0"/>
              <a:t>—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Fabian Heinlein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16.12.2024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Bachelorarbeit</a:t>
            </a:r>
          </a:p>
        </p:txBody>
      </p:sp>
    </p:spTree>
    <p:extLst>
      <p:ext uri="{BB962C8B-B14F-4D97-AF65-F5344CB8AC3E}">
        <p14:creationId xmlns:p14="http://schemas.microsoft.com/office/powerpoint/2010/main" val="37844606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4BC552-4588-0553-E8F3-828A6C887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1DF07976-AEF6-666E-D7E0-269CD881B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m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BEB48E2-935A-BA04-A615-B75F26CA6C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CDD3126-669B-1877-267A-3AB0CAAA1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136A4DB-6C29-A44A-3F6F-3F700649B8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ontext ISO 50001 /</a:t>
            </a:r>
            <a:r>
              <a:rPr lang="de-DE" dirty="0" err="1"/>
              <a:t>EnMS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902E83F-4135-736C-A2AD-4B615B93C8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4" y="1618576"/>
            <a:ext cx="5459261" cy="1582484"/>
          </a:xfrm>
        </p:spPr>
        <p:txBody>
          <a:bodyPr/>
          <a:lstStyle/>
          <a:p>
            <a:r>
              <a:rPr lang="de-DE" b="1" dirty="0">
                <a:latin typeface="+mn-lt"/>
              </a:rPr>
              <a:t>ISO 50001:</a:t>
            </a:r>
          </a:p>
          <a:p>
            <a:r>
              <a:rPr lang="de-DE" dirty="0">
                <a:latin typeface="+mn-lt"/>
              </a:rPr>
              <a:t>= internationale Norm, die </a:t>
            </a:r>
            <a:r>
              <a:rPr lang="de-DE" b="1" dirty="0">
                <a:latin typeface="+mn-lt"/>
              </a:rPr>
              <a:t>Energiemanagementsysteme</a:t>
            </a:r>
            <a:r>
              <a:rPr lang="de-DE" dirty="0">
                <a:latin typeface="+mn-lt"/>
              </a:rPr>
              <a:t> zur Verbesserung der Energieeffizienz in Unternehmen regelt.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Ist auf Businessebene definiert.</a:t>
            </a:r>
            <a:br>
              <a:rPr lang="de-DE" dirty="0">
                <a:latin typeface="+mn-lt"/>
              </a:rPr>
            </a:br>
            <a:endParaRPr lang="de-DE" dirty="0">
              <a:latin typeface="+mn-lt"/>
            </a:endParaRPr>
          </a:p>
        </p:txBody>
      </p:sp>
      <p:pic>
        <p:nvPicPr>
          <p:cNvPr id="2" name="Grafik 1" descr="Ein Bild, das Text, Screenshot, Schrift, Kreis enthält.&#10;&#10;Automatisch generierte Beschreibung">
            <a:extLst>
              <a:ext uri="{FF2B5EF4-FFF2-40B4-BE49-F238E27FC236}">
                <a16:creationId xmlns:a16="http://schemas.microsoft.com/office/drawing/2014/main" id="{B62E0208-7EBF-38EA-D3AB-C74F305D72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39" y="3206537"/>
            <a:ext cx="2292341" cy="2873142"/>
          </a:xfrm>
          <a:prstGeom prst="rect">
            <a:avLst/>
          </a:prstGeom>
        </p:spPr>
      </p:pic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51FEBBE8-54DE-A0DE-3709-843BE1B31B01}"/>
              </a:ext>
            </a:extLst>
          </p:cNvPr>
          <p:cNvSpPr txBox="1">
            <a:spLocks/>
          </p:cNvSpPr>
          <p:nvPr/>
        </p:nvSpPr>
        <p:spPr bwMode="gray">
          <a:xfrm>
            <a:off x="6253316" y="1618576"/>
            <a:ext cx="6022258" cy="15821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>
                <a:latin typeface="+mn-lt"/>
              </a:rPr>
              <a:t>Energiemanagementsysteme nach ISO 50001:</a:t>
            </a:r>
          </a:p>
          <a:p>
            <a:r>
              <a:rPr lang="de-DE" b="1" dirty="0">
                <a:latin typeface="+mn-lt"/>
              </a:rPr>
              <a:t> </a:t>
            </a:r>
            <a:r>
              <a:rPr lang="de-DE" dirty="0">
                <a:latin typeface="+mn-lt"/>
              </a:rPr>
              <a:t>= Unterstützende Software für Organisationen um ihre Energieeffizienz systematisch zu verbessern und nachhaltige Energieeinsparungen zu erreichen.</a:t>
            </a:r>
            <a:br>
              <a:rPr lang="de-DE" dirty="0">
                <a:latin typeface="+mn-lt"/>
              </a:rPr>
            </a:br>
            <a:endParaRPr lang="de-DE" dirty="0">
              <a:latin typeface="+mn-lt"/>
            </a:endParaRPr>
          </a:p>
        </p:txBody>
      </p:sp>
      <p:pic>
        <p:nvPicPr>
          <p:cNvPr id="7" name="Grafik 6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03395A1F-479B-2049-BEBC-B6AB791C9E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2000" y="3763683"/>
            <a:ext cx="6350000" cy="1409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834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54077F-1631-F871-4A9F-7CE1BFB2E1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4DEFED90-34AB-44AA-9C3A-3175569147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rschungsfra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356086F-567E-E53E-86F5-6DCEFDD30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F7BE76A-58FD-5DC4-B5B3-0EB1CC110D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101305-8B80-F01D-C8DB-CA82F134D3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ontext Bilanzräum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F1C47AD-C617-D522-FED9-206D2CBE4A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591415"/>
            <a:ext cx="4970761" cy="3451138"/>
          </a:xfrm>
        </p:spPr>
        <p:txBody>
          <a:bodyPr/>
          <a:lstStyle/>
          <a:p>
            <a:r>
              <a:rPr lang="de-DE" b="1" dirty="0">
                <a:latin typeface="+mn-lt"/>
              </a:rPr>
              <a:t>Bilanzraum</a:t>
            </a:r>
            <a:r>
              <a:rPr lang="de-DE" dirty="0">
                <a:latin typeface="+mn-lt"/>
              </a:rPr>
              <a:t> = 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spezifischer Bereich oder Einheit innerhalb eines Unternehmens, deren Energieverbrauch und -effizienz systematisch gemessen und analysiert werden, um die Anforderungen der ISO 50001 zu erfüllen.</a:t>
            </a:r>
          </a:p>
          <a:p>
            <a:r>
              <a:rPr lang="de-DE" dirty="0">
                <a:latin typeface="+mn-lt"/>
              </a:rPr>
              <a:t>Entspricht also einer </a:t>
            </a:r>
            <a:r>
              <a:rPr lang="de-DE" b="1" dirty="0">
                <a:latin typeface="+mn-lt"/>
              </a:rPr>
              <a:t>administrativen Grenze </a:t>
            </a:r>
            <a:r>
              <a:rPr lang="de-DE" dirty="0">
                <a:latin typeface="+mn-lt"/>
              </a:rPr>
              <a:t>die Physikalisch (Räume, Etagen, etc.) oder auch Logisch (Gleiche Arbeitsgruppe, Raumkategorien, etc.) definiert sein.</a:t>
            </a:r>
          </a:p>
          <a:p>
            <a:r>
              <a:rPr lang="de-DE" b="1" dirty="0">
                <a:latin typeface="+mn-lt"/>
              </a:rPr>
              <a:t>Ziel: </a:t>
            </a:r>
            <a:r>
              <a:rPr lang="de-DE" dirty="0">
                <a:latin typeface="+mn-lt"/>
              </a:rPr>
              <a:t>Statistische Messungen (</a:t>
            </a:r>
            <a:r>
              <a:rPr lang="de-DE" dirty="0" err="1">
                <a:latin typeface="+mn-lt"/>
              </a:rPr>
              <a:t>EnPIs</a:t>
            </a:r>
            <a:r>
              <a:rPr lang="de-DE" dirty="0">
                <a:latin typeface="+mn-lt"/>
              </a:rPr>
              <a:t>/</a:t>
            </a:r>
            <a:r>
              <a:rPr lang="de-DE" dirty="0" err="1">
                <a:latin typeface="+mn-lt"/>
              </a:rPr>
              <a:t>EnBs</a:t>
            </a:r>
            <a:r>
              <a:rPr lang="de-DE" dirty="0">
                <a:latin typeface="+mn-lt"/>
              </a:rPr>
              <a:t>) und Vergleiche zwischen den unterschiedlichen Bilanzräumen.</a:t>
            </a:r>
            <a:endParaRPr lang="de-DE" b="1" dirty="0">
              <a:latin typeface="+mn-lt"/>
            </a:endParaRPr>
          </a:p>
        </p:txBody>
      </p:sp>
      <p:pic>
        <p:nvPicPr>
          <p:cNvPr id="2" name="Inhaltsplatzhalter 4" descr="Ein Bild, das Haus, Screenshot, Fenster, Design enthält.&#10;&#10;Automatisch generierte Beschreibung">
            <a:extLst>
              <a:ext uri="{FF2B5EF4-FFF2-40B4-BE49-F238E27FC236}">
                <a16:creationId xmlns:a16="http://schemas.microsoft.com/office/drawing/2014/main" id="{5334CB22-7C8D-7E04-9973-7CF6E6C089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862457"/>
            <a:ext cx="5608779" cy="3309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5799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osb_rgb_modul">
            <a:extLst>
              <a:ext uri="{FF2B5EF4-FFF2-40B4-BE49-F238E27FC236}">
                <a16:creationId xmlns:a16="http://schemas.microsoft.com/office/drawing/2014/main" id="{DD7AD2D0-5D4A-4523-9F67-867979704F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743" y="0"/>
            <a:ext cx="9394514" cy="3429000"/>
          </a:xfrm>
          <a:prstGeom prst="rect">
            <a:avLst/>
          </a:prstGeom>
          <a:noFill/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78900C-3DF8-446D-8BFD-EBD50DCA41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2366104"/>
            <a:ext cx="7824787" cy="3148592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200" dirty="0"/>
              <a:t>Forschungsfragen</a:t>
            </a:r>
          </a:p>
          <a:p>
            <a:pPr lvl="1">
              <a:lnSpc>
                <a:spcPct val="90000"/>
              </a:lnSpc>
            </a:pPr>
            <a:r>
              <a:rPr lang="de-DE" sz="2200" dirty="0"/>
              <a:t>—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Fabian Heinlein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16.12.2024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Bachelorarbeit</a:t>
            </a:r>
          </a:p>
        </p:txBody>
      </p:sp>
    </p:spTree>
    <p:extLst>
      <p:ext uri="{BB962C8B-B14F-4D97-AF65-F5344CB8AC3E}">
        <p14:creationId xmlns:p14="http://schemas.microsoft.com/office/powerpoint/2010/main" val="5309339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rschungsfra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Übersicht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DDE751B-CCB3-85E4-C222-FDAD6F3100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591415"/>
            <a:ext cx="11003329" cy="4290918"/>
          </a:xfrm>
        </p:spPr>
        <p:txBody>
          <a:bodyPr/>
          <a:lstStyle/>
          <a:p>
            <a:r>
              <a:rPr lang="de-DE" b="1" dirty="0">
                <a:latin typeface="+mn-lt"/>
              </a:rPr>
              <a:t>Hauptforschungsfrage:</a:t>
            </a:r>
            <a:r>
              <a:rPr lang="de-DE" dirty="0">
                <a:latin typeface="+mn-lt"/>
              </a:rPr>
              <a:t> 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  <a:cs typeface="Times New Roman" panose="02020603050405020304" pitchFamily="18" charset="0"/>
              </a:rPr>
              <a:t>Wie lässt sich ein datenbankbasiertes System zur Abbildung von frei definierbaren Bilanzräumen im Rahmen des Energiemanagementsystems EMS-EDM Prophet® gestalten und implementieren, um Organisationen bei der Erfüllung der ISO 50001-Anforderungen zu unterstützen?</a:t>
            </a:r>
            <a:br>
              <a:rPr lang="de-DE" sz="1600" dirty="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</a:br>
            <a:endParaRPr lang="de-DE" sz="1600" dirty="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r>
              <a:rPr lang="de-DE" sz="1600" b="1" dirty="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Subforschungsfragen:</a:t>
            </a:r>
            <a:br>
              <a:rPr lang="de-DE" sz="1600" b="1" dirty="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de-DE" sz="1600" dirty="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(1) </a:t>
            </a:r>
            <a:r>
              <a:rPr lang="de-DE" dirty="0">
                <a:latin typeface="+mn-lt"/>
              </a:rPr>
              <a:t>Welche strukturellen Erweiterungen und Anpassungen sind erforderlich, um dynamische Bilanzräume in EMS-EDM Prophet® sicher und zuverlässig zu modellieren?</a:t>
            </a:r>
            <a:br>
              <a:rPr lang="de-DE" dirty="0">
                <a:latin typeface="+mn-lt"/>
              </a:rPr>
            </a:b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(2) Wie können Metriken zur Messung und Überwachung der energiebezogenen Leistung wie </a:t>
            </a:r>
            <a:r>
              <a:rPr lang="de-DE" dirty="0" err="1">
                <a:latin typeface="+mn-lt"/>
              </a:rPr>
              <a:t>EnPIs</a:t>
            </a:r>
            <a:r>
              <a:rPr lang="de-DE" dirty="0">
                <a:latin typeface="+mn-lt"/>
              </a:rPr>
              <a:t> und </a:t>
            </a:r>
            <a:r>
              <a:rPr lang="de-DE" dirty="0" err="1">
                <a:latin typeface="+mn-lt"/>
              </a:rPr>
              <a:t>EnBs</a:t>
            </a:r>
            <a:r>
              <a:rPr lang="de-DE" dirty="0">
                <a:latin typeface="+mn-lt"/>
              </a:rPr>
              <a:t> mit ihrer Definition, den Berechnungsmethoden sowie den Anforderungen an die Eingangsdaten in das Bilanzraumdatenmodell integriert werden?</a:t>
            </a:r>
            <a:br>
              <a:rPr lang="de-DE" dirty="0">
                <a:latin typeface="+mn-lt"/>
              </a:rPr>
            </a:b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(3) Welche spezifischen Anforderungen an Daten und Kommunikation zwischen den beteiligten Systemen müssen erfüllt werden, um dynamische Bilanzräume im EMS-EDM Prophet® zu realisieren</a:t>
            </a:r>
          </a:p>
        </p:txBody>
      </p:sp>
    </p:spTree>
    <p:extLst>
      <p:ext uri="{BB962C8B-B14F-4D97-AF65-F5344CB8AC3E}">
        <p14:creationId xmlns:p14="http://schemas.microsoft.com/office/powerpoint/2010/main" val="35590607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osb_rgb_modul">
            <a:extLst>
              <a:ext uri="{FF2B5EF4-FFF2-40B4-BE49-F238E27FC236}">
                <a16:creationId xmlns:a16="http://schemas.microsoft.com/office/drawing/2014/main" id="{DD7AD2D0-5D4A-4523-9F67-867979704F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743" y="0"/>
            <a:ext cx="9394514" cy="3429000"/>
          </a:xfrm>
          <a:prstGeom prst="rect">
            <a:avLst/>
          </a:prstGeom>
          <a:noFill/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78900C-3DF8-446D-8BFD-EBD50DCA41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-1" y="2357312"/>
            <a:ext cx="7824787" cy="3148592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200" dirty="0"/>
              <a:t>Grobgliederung</a:t>
            </a:r>
          </a:p>
          <a:p>
            <a:pPr lvl="1">
              <a:lnSpc>
                <a:spcPct val="90000"/>
              </a:lnSpc>
            </a:pPr>
            <a:r>
              <a:rPr lang="de-DE" sz="2200" dirty="0"/>
              <a:t>—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Fabian Heinlein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16.12.2024</a:t>
            </a:r>
            <a:br>
              <a:rPr lang="de-DE" sz="2200" dirty="0"/>
            </a:br>
            <a:r>
              <a:rPr lang="de-DE" sz="2200" dirty="0"/>
              <a:t>Bachelorarbeit</a:t>
            </a:r>
          </a:p>
        </p:txBody>
      </p:sp>
    </p:spTree>
    <p:extLst>
      <p:ext uri="{BB962C8B-B14F-4D97-AF65-F5344CB8AC3E}">
        <p14:creationId xmlns:p14="http://schemas.microsoft.com/office/powerpoint/2010/main" val="21799001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obgliederung (1)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73748" y="6457796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5656" y="6470849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49759B1-000B-681B-6B94-E930C99424E2}"/>
              </a:ext>
            </a:extLst>
          </p:cNvPr>
          <p:cNvSpPr txBox="1"/>
          <p:nvPr/>
        </p:nvSpPr>
        <p:spPr>
          <a:xfrm>
            <a:off x="5929123" y="2163678"/>
            <a:ext cx="4668716" cy="38286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b="1" dirty="0"/>
              <a:t>Hintergrund und Motivation</a:t>
            </a:r>
            <a:br>
              <a:rPr lang="de-DE" sz="1400" dirty="0"/>
            </a:br>
            <a:r>
              <a:rPr lang="de-DE" sz="1400" dirty="0">
                <a:sym typeface="Wingdings" panose="05000000000000000000" pitchFamily="2" charset="2"/>
              </a:rPr>
              <a:t> </a:t>
            </a:r>
            <a:r>
              <a:rPr lang="de-DE" sz="1400" dirty="0"/>
              <a:t>Einführung in das Thema ISO 50001 und EMS</a:t>
            </a:r>
          </a:p>
          <a:p>
            <a:pPr marL="637200" lvl="1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Ziele</a:t>
            </a:r>
          </a:p>
          <a:p>
            <a:pPr marL="637200" lvl="1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Anforderungen</a:t>
            </a:r>
          </a:p>
          <a:p>
            <a:pPr marL="637200" lvl="1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Motivation (Vor- und Nachteile Umsetzung der ISO 50001)</a:t>
            </a:r>
          </a:p>
          <a:p>
            <a:pPr marL="637200" lvl="1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z.B.: PDCA-Zyklus, Dynamische Anwendbarkeit der ISO, Umsetzungsmethodik, Umsetzungspflicht</a:t>
            </a:r>
          </a:p>
          <a:p>
            <a:pPr marL="180000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b="1" dirty="0"/>
              <a:t>Problemstellung</a:t>
            </a:r>
            <a:br>
              <a:rPr lang="de-DE" sz="1400" b="1" dirty="0"/>
            </a:br>
            <a:r>
              <a:rPr lang="de-DE" sz="1400" dirty="0">
                <a:sym typeface="Wingdings" panose="05000000000000000000" pitchFamily="2" charset="2"/>
              </a:rPr>
              <a:t> Erläuterung der Forschungsfragen</a:t>
            </a:r>
            <a:endParaRPr lang="de-DE" sz="1400" dirty="0"/>
          </a:p>
          <a:p>
            <a:pPr marL="180000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b="1" dirty="0"/>
              <a:t>Ziel der Arbeit</a:t>
            </a:r>
            <a:br>
              <a:rPr lang="de-DE" sz="1400" b="1" dirty="0"/>
            </a:br>
            <a:r>
              <a:rPr lang="de-DE" sz="1400" dirty="0">
                <a:sym typeface="Wingdings" panose="05000000000000000000" pitchFamily="2" charset="2"/>
              </a:rPr>
              <a:t> Erwartung an Forschungsergebnisse</a:t>
            </a:r>
          </a:p>
          <a:p>
            <a:pPr marL="180000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b="1" dirty="0">
                <a:sym typeface="Wingdings" panose="05000000000000000000" pitchFamily="2" charset="2"/>
              </a:rPr>
              <a:t>Aufbau der Arbeit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 Vorgehen zum erreichen der Ergebnisse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 Aufbau der Arbeit</a:t>
            </a:r>
            <a:endParaRPr lang="de-DE" sz="1400" b="1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8F9B673-922E-DC7F-BA44-747BB27413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833" y="1429483"/>
            <a:ext cx="3742612" cy="3201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2999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obgliederung (2)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73748" y="6457796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noProof="0" smtClean="0"/>
              <a:t>19.12.2024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5656" y="6470849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orgaben zur Problemlösung + Lösungsansätze auf Business eben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49759B1-000B-681B-6B94-E930C99424E2}"/>
              </a:ext>
            </a:extLst>
          </p:cNvPr>
          <p:cNvSpPr txBox="1"/>
          <p:nvPr/>
        </p:nvSpPr>
        <p:spPr>
          <a:xfrm>
            <a:off x="7043859" y="1095347"/>
            <a:ext cx="4668716" cy="51112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b="1" dirty="0"/>
              <a:t>Theoretischer </a:t>
            </a:r>
            <a:r>
              <a:rPr lang="de-DE" sz="1400" dirty="0"/>
              <a:t>Teil der Arbeit</a:t>
            </a:r>
          </a:p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Analyse von:</a:t>
            </a:r>
          </a:p>
          <a:p>
            <a:pPr marL="637200" lvl="1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ISO 50001 und anderen verwandten Normen (z.B. ISO 50006 – </a:t>
            </a:r>
            <a:r>
              <a:rPr lang="de-DE" sz="1400" dirty="0" err="1"/>
              <a:t>EnPIs</a:t>
            </a:r>
            <a:r>
              <a:rPr lang="de-DE" sz="1400" dirty="0"/>
              <a:t>)</a:t>
            </a:r>
            <a:br>
              <a:rPr lang="de-DE" sz="1400" dirty="0"/>
            </a:br>
            <a:r>
              <a:rPr lang="de-DE" sz="1400" dirty="0">
                <a:sym typeface="Wingdings" panose="05000000000000000000" pitchFamily="2" charset="2"/>
              </a:rPr>
              <a:t> Vorgaben der Norm(en) herausarbeiten</a:t>
            </a:r>
          </a:p>
          <a:p>
            <a:pPr marL="637200" lvl="1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sym typeface="Wingdings" panose="05000000000000000000" pitchFamily="2" charset="2"/>
              </a:rPr>
              <a:t>Praktische Umsetzungsansätze von Bilanzräumen in Organisationen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 Verständnis für Energiemanagement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 Analyse von Fallstudien in Organisationen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 praktische Anwendung der ISO 50001 in Organisationen im Bereich Bilanzräume</a:t>
            </a:r>
          </a:p>
          <a:p>
            <a:pPr marL="180000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Hier werden </a:t>
            </a:r>
            <a:r>
              <a:rPr lang="de-DE" sz="1400" b="1" dirty="0"/>
              <a:t>keine Datenbankseitigen Modellierungen </a:t>
            </a:r>
            <a:r>
              <a:rPr lang="de-DE" sz="1400" dirty="0"/>
              <a:t>von Bilanzräumen betrachtet</a:t>
            </a:r>
            <a:br>
              <a:rPr lang="de-DE" sz="1400" dirty="0"/>
            </a:br>
            <a:r>
              <a:rPr lang="de-DE" sz="1400" dirty="0">
                <a:sym typeface="Wingdings" panose="05000000000000000000" pitchFamily="2" charset="2"/>
              </a:rPr>
              <a:t> Problem: Implementation ist sehr Anwendungsspezifisch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 Hier wird Problem im EMS-EDM Prophet umgesetzt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 es gibt </a:t>
            </a:r>
            <a:r>
              <a:rPr lang="de-DE" sz="1400" b="1" dirty="0">
                <a:sym typeface="Wingdings" panose="05000000000000000000" pitchFamily="2" charset="2"/>
              </a:rPr>
              <a:t>kaum Wissenschaftlichen Arbeiten, im selben Problemraum</a:t>
            </a:r>
            <a:endParaRPr lang="de-DE" sz="1400" b="1" dirty="0"/>
          </a:p>
          <a:p>
            <a:pPr marL="180000" indent="-180000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Verständnis für Problemraum</a:t>
            </a:r>
            <a:br>
              <a:rPr lang="de-DE" sz="1400" dirty="0"/>
            </a:br>
            <a:r>
              <a:rPr lang="de-DE" sz="1400" dirty="0"/>
              <a:t>(</a:t>
            </a:r>
            <a:r>
              <a:rPr lang="de-DE" sz="1400" b="1" dirty="0"/>
              <a:t>Was ist bei Umsetzung zu beachten?</a:t>
            </a:r>
            <a:r>
              <a:rPr lang="de-DE" sz="1400" dirty="0"/>
              <a:t>)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3A43465-7882-89DE-6593-A60D458666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425" y="1394865"/>
            <a:ext cx="5115130" cy="4471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164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FOXDOCUMENTCLASSIFICATIONVERSION" val="1"/>
  <p:tag name="ISFOXSHOWCLASSIFICATIONREQUESTDIALOG" val="False"/>
  <p:tag name="A71660D270C64F5BBB8F27F5E85BE6370" val="AST\fab26861;d4c75f49-f1ee-485c-aa75-2c54e2ab5223;Internal;2023-09-28T11:03:15;;IOSB-AST|"/>
  <p:tag name="A71660D270C64F5BBB8F27F5E85BE630" val="1"/>
  <p:tag name="ISFOXCLASSIFICATIONINKEYWORDS" val="Internal"/>
  <p:tag name="ISFOXDOVERSIONINGONSAVE" val="0"/>
  <p:tag name="ISFOXLABELUSERINTERACTION" val="True"/>
  <p:tag name="ISFOXOLDCLASSIFICATIONID" val="00000000-0000-0000-0000-000000000000"/>
  <p:tag name="ISFOXCLASSIFICATIONID" val="d4c75f49-f1ee-485c-aa75-2c54e2ab5223"/>
  <p:tag name="ISFOXCLASSIFICATIONNAME" val="Internal"/>
  <p:tag name="ISFOXPREFIX" val="IOSB-AS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_190122_Fraunhofer_Master_16-9 orig</Template>
  <TotalTime>0</TotalTime>
  <Words>631</Words>
  <Application>Microsoft Office PowerPoint</Application>
  <PresentationFormat>Breitbild</PresentationFormat>
  <Paragraphs>95</Paragraphs>
  <Slides>1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1" baseType="lpstr">
      <vt:lpstr>Frutiger LT Com 65 Bold</vt:lpstr>
      <vt:lpstr>Wingdings</vt:lpstr>
      <vt:lpstr>Frutiger LT Com 75 Black</vt:lpstr>
      <vt:lpstr>Frutiger LT Com 45 Light</vt:lpstr>
      <vt:lpstr>Arial</vt:lpstr>
      <vt:lpstr>Fraunhofer_Master_16-9</vt:lpstr>
      <vt:lpstr>think-cell Folie</vt:lpstr>
      <vt:lpstr>PowerPoint-Präsentation</vt:lpstr>
      <vt:lpstr>PowerPoint-Präsentation</vt:lpstr>
      <vt:lpstr>Thema</vt:lpstr>
      <vt:lpstr>Forschungsfragen</vt:lpstr>
      <vt:lpstr>PowerPoint-Präsentation</vt:lpstr>
      <vt:lpstr>Forschungsfragen</vt:lpstr>
      <vt:lpstr>PowerPoint-Präsentation</vt:lpstr>
      <vt:lpstr>Grobgliederung (1)</vt:lpstr>
      <vt:lpstr>Grobgliederung (2)</vt:lpstr>
      <vt:lpstr>Grobgliederung (3)</vt:lpstr>
      <vt:lpstr>Grobgliederung (4)</vt:lpstr>
      <vt:lpstr>Grobgliederung (5)</vt:lpstr>
      <vt:lpstr>PowerPoint-Präsentation</vt:lpstr>
      <vt:lpstr>Zeitplanung</vt:lpstr>
    </vt:vector>
  </TitlesOfParts>
  <Company>Fraunhofer IOS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ontes, Ulrich</dc:creator>
  <cp:keywords>Internal;</cp:keywords>
  <cp:lastModifiedBy>Fabian Heinlein</cp:lastModifiedBy>
  <cp:revision>184</cp:revision>
  <dcterms:created xsi:type="dcterms:W3CDTF">2022-06-14T19:19:11Z</dcterms:created>
  <dcterms:modified xsi:type="dcterms:W3CDTF">2024-12-19T19:34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71660d270c64f5bbb8f27ffa23">
    <vt:bool>false</vt:bool>
  </property>
  <property fmtid="{D5CDD505-2E9C-101B-9397-08002B2CF9AE}" pid="3" name="FHG-SK">
    <vt:lpwstr>Internal</vt:lpwstr>
  </property>
  <property fmtid="{D5CDD505-2E9C-101B-9397-08002B2CF9AE}" pid="4" name="Classification">
    <vt:lpwstr>Restricted</vt:lpwstr>
  </property>
  <property fmtid="{D5CDD505-2E9C-101B-9397-08002B2CF9AE}" pid="5" name="MSIP_Label_20b3cc57-ad54-4613-8228-62b95826f463_Enabled">
    <vt:lpwstr>true</vt:lpwstr>
  </property>
  <property fmtid="{D5CDD505-2E9C-101B-9397-08002B2CF9AE}" pid="6" name="MSIP_Label_20b3cc57-ad54-4613-8228-62b95826f463_SetDate">
    <vt:lpwstr>2024-12-19T13:07:55Z</vt:lpwstr>
  </property>
  <property fmtid="{D5CDD505-2E9C-101B-9397-08002B2CF9AE}" pid="7" name="MSIP_Label_20b3cc57-ad54-4613-8228-62b95826f463_Method">
    <vt:lpwstr>Standard</vt:lpwstr>
  </property>
  <property fmtid="{D5CDD505-2E9C-101B-9397-08002B2CF9AE}" pid="8" name="MSIP_Label_20b3cc57-ad54-4613-8228-62b95826f463_Name">
    <vt:lpwstr>defa4170-0d19-0005-0004-bc88714345d2</vt:lpwstr>
  </property>
  <property fmtid="{D5CDD505-2E9C-101B-9397-08002B2CF9AE}" pid="9" name="MSIP_Label_20b3cc57-ad54-4613-8228-62b95826f463_SiteId">
    <vt:lpwstr>c81b6223-c223-4518-968a-8b0a0419d697</vt:lpwstr>
  </property>
  <property fmtid="{D5CDD505-2E9C-101B-9397-08002B2CF9AE}" pid="10" name="MSIP_Label_20b3cc57-ad54-4613-8228-62b95826f463_ActionId">
    <vt:lpwstr>4ceef2b5-74a3-40c0-868a-48b123ab0710</vt:lpwstr>
  </property>
  <property fmtid="{D5CDD505-2E9C-101B-9397-08002B2CF9AE}" pid="11" name="MSIP_Label_20b3cc57-ad54-4613-8228-62b95826f463_ContentBits">
    <vt:lpwstr>0</vt:lpwstr>
  </property>
</Properties>
</file>